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E52A38-C038-D184-C950-9BED45122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32FB2F9-AC7F-CC4C-1E0B-B524A617B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2FB2F9-AC7F-CC4C-1E0B-B524A617B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527F61-E03B-FFB7-60C9-6B3D1CB56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FC136-C1CC-4F11-F58D-68638269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74C89E-26D6-2F05-2890-B0235E02A146}"/>
              </a:ext>
            </a:extLst>
          </p:cNvPr>
          <p:cNvGrpSpPr/>
          <p:nvPr/>
        </p:nvGrpSpPr>
        <p:grpSpPr>
          <a:xfrm>
            <a:off x="3728705" y="1399548"/>
            <a:ext cx="4509062" cy="4512296"/>
            <a:chOff x="3728705" y="1399548"/>
            <a:chExt cx="4509062" cy="4512296"/>
          </a:xfrm>
          <a:solidFill>
            <a:schemeClr val="accent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3B78BC1-9251-AEE4-F086-CCE7DB609549}"/>
                </a:ext>
              </a:extLst>
            </p:cNvPr>
            <p:cNvSpPr>
              <a:spLocks/>
            </p:cNvSpPr>
            <p:nvPr/>
          </p:nvSpPr>
          <p:spPr>
            <a:xfrm>
              <a:off x="3728705" y="1399548"/>
              <a:ext cx="4509062" cy="2271955"/>
            </a:xfrm>
            <a:custGeom>
              <a:avLst/>
              <a:gdLst>
                <a:gd name="connsiteX0" fmla="*/ 2254531 w 4509062"/>
                <a:gd name="connsiteY0" fmla="*/ 0 h 2271955"/>
                <a:gd name="connsiteX1" fmla="*/ 4509062 w 4509062"/>
                <a:gd name="connsiteY1" fmla="*/ 2256148 h 2271955"/>
                <a:gd name="connsiteX2" fmla="*/ 4508265 w 4509062"/>
                <a:gd name="connsiteY2" fmla="*/ 2271955 h 2271955"/>
                <a:gd name="connsiteX3" fmla="*/ 3167826 w 4509062"/>
                <a:gd name="connsiteY3" fmla="*/ 2271955 h 2271955"/>
                <a:gd name="connsiteX4" fmla="*/ 3168623 w 4509062"/>
                <a:gd name="connsiteY4" fmla="*/ 2256148 h 2271955"/>
                <a:gd name="connsiteX5" fmla="*/ 2254531 w 4509062"/>
                <a:gd name="connsiteY5" fmla="*/ 1341400 h 2271955"/>
                <a:gd name="connsiteX6" fmla="*/ 1340439 w 4509062"/>
                <a:gd name="connsiteY6" fmla="*/ 2256148 h 2271955"/>
                <a:gd name="connsiteX7" fmla="*/ 1341237 w 4509062"/>
                <a:gd name="connsiteY7" fmla="*/ 2271955 h 2271955"/>
                <a:gd name="connsiteX8" fmla="*/ 798 w 4509062"/>
                <a:gd name="connsiteY8" fmla="*/ 2271955 h 2271955"/>
                <a:gd name="connsiteX9" fmla="*/ 0 w 4509062"/>
                <a:gd name="connsiteY9" fmla="*/ 2256148 h 2271955"/>
                <a:gd name="connsiteX10" fmla="*/ 2254531 w 4509062"/>
                <a:gd name="connsiteY10" fmla="*/ 0 h 227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09062" h="2271955">
                  <a:moveTo>
                    <a:pt x="2254531" y="0"/>
                  </a:moveTo>
                  <a:cubicBezTo>
                    <a:pt x="3499674" y="0"/>
                    <a:pt x="4509062" y="1010112"/>
                    <a:pt x="4509062" y="2256148"/>
                  </a:cubicBezTo>
                  <a:lnTo>
                    <a:pt x="4508265" y="2271955"/>
                  </a:lnTo>
                  <a:lnTo>
                    <a:pt x="3167826" y="2271955"/>
                  </a:lnTo>
                  <a:lnTo>
                    <a:pt x="3168623" y="2256148"/>
                  </a:lnTo>
                  <a:cubicBezTo>
                    <a:pt x="3168623" y="1750947"/>
                    <a:pt x="2759370" y="1341400"/>
                    <a:pt x="2254531" y="1341400"/>
                  </a:cubicBezTo>
                  <a:cubicBezTo>
                    <a:pt x="1749692" y="1341400"/>
                    <a:pt x="1340439" y="1750947"/>
                    <a:pt x="1340439" y="2256148"/>
                  </a:cubicBezTo>
                  <a:lnTo>
                    <a:pt x="1341237" y="2271955"/>
                  </a:lnTo>
                  <a:lnTo>
                    <a:pt x="798" y="2271955"/>
                  </a:lnTo>
                  <a:lnTo>
                    <a:pt x="0" y="2256148"/>
                  </a:lnTo>
                  <a:cubicBezTo>
                    <a:pt x="0" y="1010112"/>
                    <a:pt x="1009388" y="0"/>
                    <a:pt x="2254531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FD452ED-2919-7B3D-AB8B-8C1D0E484A41}"/>
                </a:ext>
              </a:extLst>
            </p:cNvPr>
            <p:cNvSpPr>
              <a:spLocks/>
            </p:cNvSpPr>
            <p:nvPr/>
          </p:nvSpPr>
          <p:spPr>
            <a:xfrm>
              <a:off x="3730334" y="3687949"/>
              <a:ext cx="2213277" cy="2221893"/>
            </a:xfrm>
            <a:custGeom>
              <a:avLst/>
              <a:gdLst>
                <a:gd name="connsiteX0" fmla="*/ 0 w 2213277"/>
                <a:gd name="connsiteY0" fmla="*/ 0 h 2221893"/>
                <a:gd name="connsiteX1" fmla="*/ 1340439 w 2213277"/>
                <a:gd name="connsiteY1" fmla="*/ 0 h 2221893"/>
                <a:gd name="connsiteX2" fmla="*/ 1343530 w 2213277"/>
                <a:gd name="connsiteY2" fmla="*/ 61275 h 2221893"/>
                <a:gd name="connsiteX3" fmla="*/ 2159442 w 2213277"/>
                <a:gd name="connsiteY3" fmla="*/ 877772 h 2221893"/>
                <a:gd name="connsiteX4" fmla="*/ 2213277 w 2213277"/>
                <a:gd name="connsiteY4" fmla="*/ 880493 h 2221893"/>
                <a:gd name="connsiteX5" fmla="*/ 2213277 w 2213277"/>
                <a:gd name="connsiteY5" fmla="*/ 2221893 h 2221893"/>
                <a:gd name="connsiteX6" fmla="*/ 2022390 w 2213277"/>
                <a:gd name="connsiteY6" fmla="*/ 2212247 h 2221893"/>
                <a:gd name="connsiteX7" fmla="*/ 10012 w 2213277"/>
                <a:gd name="connsiteY7" fmla="*/ 198425 h 2221893"/>
                <a:gd name="connsiteX8" fmla="*/ 0 w 2213277"/>
                <a:gd name="connsiteY8" fmla="*/ 0 h 222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3277" h="2221893">
                  <a:moveTo>
                    <a:pt x="0" y="0"/>
                  </a:moveTo>
                  <a:lnTo>
                    <a:pt x="1340439" y="0"/>
                  </a:lnTo>
                  <a:lnTo>
                    <a:pt x="1343530" y="61275"/>
                  </a:lnTo>
                  <a:cubicBezTo>
                    <a:pt x="1387221" y="491791"/>
                    <a:pt x="1729235" y="834051"/>
                    <a:pt x="2159442" y="877772"/>
                  </a:cubicBezTo>
                  <a:lnTo>
                    <a:pt x="2213277" y="880493"/>
                  </a:lnTo>
                  <a:lnTo>
                    <a:pt x="2213277" y="2221893"/>
                  </a:lnTo>
                  <a:lnTo>
                    <a:pt x="2022390" y="2212247"/>
                  </a:lnTo>
                  <a:cubicBezTo>
                    <a:pt x="961320" y="2104412"/>
                    <a:pt x="117770" y="1260256"/>
                    <a:pt x="10012" y="19842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47C1EC0-3FDA-AF5F-9F6B-905CEC7C159E}"/>
                </a:ext>
              </a:extLst>
            </p:cNvPr>
            <p:cNvSpPr>
              <a:spLocks/>
            </p:cNvSpPr>
            <p:nvPr/>
          </p:nvSpPr>
          <p:spPr>
            <a:xfrm>
              <a:off x="5960056" y="3687949"/>
              <a:ext cx="2276084" cy="2223895"/>
            </a:xfrm>
            <a:custGeom>
              <a:avLst/>
              <a:gdLst>
                <a:gd name="connsiteX0" fmla="*/ 935645 w 2276084"/>
                <a:gd name="connsiteY0" fmla="*/ 0 h 2223895"/>
                <a:gd name="connsiteX1" fmla="*/ 2276084 w 2276084"/>
                <a:gd name="connsiteY1" fmla="*/ 0 h 2223895"/>
                <a:gd name="connsiteX2" fmla="*/ 2266071 w 2276084"/>
                <a:gd name="connsiteY2" fmla="*/ 198425 h 2223895"/>
                <a:gd name="connsiteX3" fmla="*/ 23180 w 2276084"/>
                <a:gd name="connsiteY3" fmla="*/ 2223895 h 2223895"/>
                <a:gd name="connsiteX4" fmla="*/ 0 w 2276084"/>
                <a:gd name="connsiteY4" fmla="*/ 2222724 h 2223895"/>
                <a:gd name="connsiteX5" fmla="*/ 0 w 2276084"/>
                <a:gd name="connsiteY5" fmla="*/ 881324 h 2223895"/>
                <a:gd name="connsiteX6" fmla="*/ 23180 w 2276084"/>
                <a:gd name="connsiteY6" fmla="*/ 882495 h 2223895"/>
                <a:gd name="connsiteX7" fmla="*/ 932553 w 2276084"/>
                <a:gd name="connsiteY7" fmla="*/ 61275 h 2223895"/>
                <a:gd name="connsiteX8" fmla="*/ 935645 w 2276084"/>
                <a:gd name="connsiteY8" fmla="*/ 0 h 222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6084" h="2223895">
                  <a:moveTo>
                    <a:pt x="935645" y="0"/>
                  </a:moveTo>
                  <a:lnTo>
                    <a:pt x="2276084" y="0"/>
                  </a:lnTo>
                  <a:lnTo>
                    <a:pt x="2266071" y="198425"/>
                  </a:lnTo>
                  <a:cubicBezTo>
                    <a:pt x="2150617" y="1336101"/>
                    <a:pt x="1190502" y="2223895"/>
                    <a:pt x="23180" y="2223895"/>
                  </a:cubicBezTo>
                  <a:lnTo>
                    <a:pt x="0" y="2222724"/>
                  </a:lnTo>
                  <a:lnTo>
                    <a:pt x="0" y="881324"/>
                  </a:lnTo>
                  <a:lnTo>
                    <a:pt x="23180" y="882495"/>
                  </a:lnTo>
                  <a:cubicBezTo>
                    <a:pt x="496467" y="882495"/>
                    <a:pt x="885742" y="522542"/>
                    <a:pt x="932553" y="61275"/>
                  </a:cubicBezTo>
                  <a:lnTo>
                    <a:pt x="9356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E557C5F-A79E-5C8E-BECE-48999D81655E}"/>
              </a:ext>
            </a:extLst>
          </p:cNvPr>
          <p:cNvSpPr/>
          <p:nvPr/>
        </p:nvSpPr>
        <p:spPr>
          <a:xfrm>
            <a:off x="7113647" y="4865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1140415-B439-21AD-4998-56A20D8ACA99}"/>
              </a:ext>
            </a:extLst>
          </p:cNvPr>
          <p:cNvSpPr/>
          <p:nvPr/>
        </p:nvSpPr>
        <p:spPr>
          <a:xfrm>
            <a:off x="3856097" y="4865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8B4CB22-EA21-47FC-FF1A-B9B468D5B04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68157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1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79</cp:revision>
  <dcterms:created xsi:type="dcterms:W3CDTF">2021-03-31T02:49:57Z</dcterms:created>
  <dcterms:modified xsi:type="dcterms:W3CDTF">2025-10-15T03:16:58Z</dcterms:modified>
  <cp:category/>
</cp:coreProperties>
</file>